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10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37" d="100"/>
          <a:sy n="37" d="100"/>
        </p:scale>
        <p:origin x="952" y="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35A0F1-6AC7-4E5E-97DF-809297D04495}" type="datetimeFigureOut">
              <a:rPr lang="zh-CN" altLang="en-US" smtClean="0"/>
              <a:t>2025/9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59C60F-10FA-46C5-A150-BD4FC6FC02E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292601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928968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6053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6744531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9181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457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528147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9743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4444366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slideLayout" Target="../slideLayouts/slideLayout5.xml"/><Relationship Id="rId26" Type="http://schemas.openxmlformats.org/officeDocument/2006/relationships/image" Target="../media/image9.png"/><Relationship Id="rId3" Type="http://schemas.openxmlformats.org/officeDocument/2006/relationships/tags" Target="../tags/tag6.xml"/><Relationship Id="rId21" Type="http://schemas.openxmlformats.org/officeDocument/2006/relationships/image" Target="../media/image4.emf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image" Target="../media/image8.svg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oleObject" Target="../embeddings/oleObject5.bin"/><Relationship Id="rId29" Type="http://schemas.openxmlformats.org/officeDocument/2006/relationships/image" Target="../media/image12.svg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image" Target="../media/image7.png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image" Target="../media/image6.svg"/><Relationship Id="rId28" Type="http://schemas.openxmlformats.org/officeDocument/2006/relationships/image" Target="../media/image11.png"/><Relationship Id="rId10" Type="http://schemas.openxmlformats.org/officeDocument/2006/relationships/tags" Target="../tags/tag13.xml"/><Relationship Id="rId19" Type="http://schemas.openxmlformats.org/officeDocument/2006/relationships/notesSlide" Target="../notesSlides/notesSlide1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image" Target="../media/image5.png"/><Relationship Id="rId27" Type="http://schemas.openxmlformats.org/officeDocument/2006/relationships/image" Target="../media/image10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20" imgW="349" imgH="350" progId="TCLayout.ActiveDocument.1">
                  <p:embed/>
                </p:oleObj>
              </mc:Choice>
              <mc:Fallback>
                <p:oleObj name="think-cell 幻灯片" r:id="rId20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{title}</a:t>
            </a:r>
          </a:p>
        </p:txBody>
      </p:sp>
      <p:sp>
        <p:nvSpPr>
          <p:cNvPr id="2" name="Freihandform: Form 33">
            <a:extLst>
              <a:ext uri="{FF2B5EF4-FFF2-40B4-BE49-F238E27FC236}">
                <a16:creationId xmlns:a16="http://schemas.microsoft.com/office/drawing/2014/main" id="{7A9537B6-B3F3-BFAC-1894-D37B3A125761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5987671" y="2623918"/>
            <a:ext cx="216658" cy="1075421"/>
          </a:xfrm>
          <a:custGeom>
            <a:avLst/>
            <a:gdLst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6658" h="1075421">
                <a:moveTo>
                  <a:pt x="108372" y="0"/>
                </a:moveTo>
                <a:cubicBezTo>
                  <a:pt x="144564" y="85866"/>
                  <a:pt x="161707" y="171733"/>
                  <a:pt x="188374" y="257599"/>
                </a:cubicBezTo>
                <a:cubicBezTo>
                  <a:pt x="206919" y="348179"/>
                  <a:pt x="216658" y="441967"/>
                  <a:pt x="216658" y="538031"/>
                </a:cubicBezTo>
                <a:cubicBezTo>
                  <a:pt x="216658" y="633956"/>
                  <a:pt x="206919" y="727621"/>
                  <a:pt x="188374" y="818094"/>
                </a:cubicBezTo>
                <a:cubicBezTo>
                  <a:pt x="161707" y="903870"/>
                  <a:pt x="158852" y="956308"/>
                  <a:pt x="108372" y="1075421"/>
                </a:cubicBezTo>
                <a:cubicBezTo>
                  <a:pt x="65016" y="963451"/>
                  <a:pt x="54996" y="903870"/>
                  <a:pt x="28308" y="818094"/>
                </a:cubicBezTo>
                <a:cubicBezTo>
                  <a:pt x="9748" y="727621"/>
                  <a:pt x="0" y="633956"/>
                  <a:pt x="0" y="538031"/>
                </a:cubicBezTo>
                <a:cubicBezTo>
                  <a:pt x="0" y="441967"/>
                  <a:pt x="9748" y="348179"/>
                  <a:pt x="28308" y="257599"/>
                </a:cubicBezTo>
                <a:cubicBezTo>
                  <a:pt x="54996" y="171733"/>
                  <a:pt x="65015" y="85866"/>
                  <a:pt x="108372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3" name="Freihandform: Form 34">
            <a:extLst>
              <a:ext uri="{FF2B5EF4-FFF2-40B4-BE49-F238E27FC236}">
                <a16:creationId xmlns:a16="http://schemas.microsoft.com/office/drawing/2014/main" id="{EC0FDED5-97C8-DC0F-0EA0-79A6CDEB9FD2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8555195" y="2623918"/>
            <a:ext cx="216658" cy="1075421"/>
          </a:xfrm>
          <a:custGeom>
            <a:avLst/>
            <a:gdLst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6658" h="1075421">
                <a:moveTo>
                  <a:pt x="108372" y="0"/>
                </a:moveTo>
                <a:cubicBezTo>
                  <a:pt x="144564" y="85866"/>
                  <a:pt x="161707" y="171733"/>
                  <a:pt x="188374" y="257599"/>
                </a:cubicBezTo>
                <a:cubicBezTo>
                  <a:pt x="206919" y="348179"/>
                  <a:pt x="216658" y="441967"/>
                  <a:pt x="216658" y="538031"/>
                </a:cubicBezTo>
                <a:cubicBezTo>
                  <a:pt x="216658" y="633956"/>
                  <a:pt x="206919" y="727621"/>
                  <a:pt x="188374" y="818094"/>
                </a:cubicBezTo>
                <a:cubicBezTo>
                  <a:pt x="161707" y="903870"/>
                  <a:pt x="158852" y="956308"/>
                  <a:pt x="108372" y="1075421"/>
                </a:cubicBezTo>
                <a:cubicBezTo>
                  <a:pt x="65016" y="963451"/>
                  <a:pt x="54996" y="903870"/>
                  <a:pt x="28308" y="818094"/>
                </a:cubicBezTo>
                <a:cubicBezTo>
                  <a:pt x="9748" y="727621"/>
                  <a:pt x="0" y="633956"/>
                  <a:pt x="0" y="538031"/>
                </a:cubicBezTo>
                <a:cubicBezTo>
                  <a:pt x="0" y="441967"/>
                  <a:pt x="9748" y="348179"/>
                  <a:pt x="28308" y="257599"/>
                </a:cubicBezTo>
                <a:cubicBezTo>
                  <a:pt x="54996" y="171733"/>
                  <a:pt x="65015" y="85866"/>
                  <a:pt x="108372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4" name="Freihandform: Form 82">
            <a:extLst>
              <a:ext uri="{FF2B5EF4-FFF2-40B4-BE49-F238E27FC236}">
                <a16:creationId xmlns:a16="http://schemas.microsoft.com/office/drawing/2014/main" id="{8A9C1D30-BD53-1FF2-8B45-6F202EC30923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3419868" y="2623918"/>
            <a:ext cx="216658" cy="1075421"/>
          </a:xfrm>
          <a:custGeom>
            <a:avLst/>
            <a:gdLst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  <a:gd name="connsiteX0" fmla="*/ 108372 w 216658"/>
              <a:gd name="connsiteY0" fmla="*/ 0 h 1075421"/>
              <a:gd name="connsiteX1" fmla="*/ 188374 w 216658"/>
              <a:gd name="connsiteY1" fmla="*/ 257599 h 1075421"/>
              <a:gd name="connsiteX2" fmla="*/ 216658 w 216658"/>
              <a:gd name="connsiteY2" fmla="*/ 538031 h 1075421"/>
              <a:gd name="connsiteX3" fmla="*/ 188374 w 216658"/>
              <a:gd name="connsiteY3" fmla="*/ 818094 h 1075421"/>
              <a:gd name="connsiteX4" fmla="*/ 108372 w 216658"/>
              <a:gd name="connsiteY4" fmla="*/ 1075421 h 1075421"/>
              <a:gd name="connsiteX5" fmla="*/ 28308 w 216658"/>
              <a:gd name="connsiteY5" fmla="*/ 818094 h 1075421"/>
              <a:gd name="connsiteX6" fmla="*/ 0 w 216658"/>
              <a:gd name="connsiteY6" fmla="*/ 538031 h 1075421"/>
              <a:gd name="connsiteX7" fmla="*/ 28308 w 216658"/>
              <a:gd name="connsiteY7" fmla="*/ 257599 h 1075421"/>
              <a:gd name="connsiteX8" fmla="*/ 108372 w 216658"/>
              <a:gd name="connsiteY8" fmla="*/ 0 h 1075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6658" h="1075421">
                <a:moveTo>
                  <a:pt x="108372" y="0"/>
                </a:moveTo>
                <a:cubicBezTo>
                  <a:pt x="144564" y="85866"/>
                  <a:pt x="161707" y="171733"/>
                  <a:pt x="188374" y="257599"/>
                </a:cubicBezTo>
                <a:cubicBezTo>
                  <a:pt x="206919" y="348179"/>
                  <a:pt x="216658" y="441967"/>
                  <a:pt x="216658" y="538031"/>
                </a:cubicBezTo>
                <a:cubicBezTo>
                  <a:pt x="216658" y="633956"/>
                  <a:pt x="206919" y="727621"/>
                  <a:pt x="188374" y="818094"/>
                </a:cubicBezTo>
                <a:cubicBezTo>
                  <a:pt x="161707" y="903870"/>
                  <a:pt x="158852" y="956308"/>
                  <a:pt x="108372" y="1075421"/>
                </a:cubicBezTo>
                <a:cubicBezTo>
                  <a:pt x="65016" y="963451"/>
                  <a:pt x="54996" y="903870"/>
                  <a:pt x="28308" y="818094"/>
                </a:cubicBezTo>
                <a:cubicBezTo>
                  <a:pt x="9748" y="727621"/>
                  <a:pt x="0" y="633956"/>
                  <a:pt x="0" y="538031"/>
                </a:cubicBezTo>
                <a:cubicBezTo>
                  <a:pt x="0" y="441967"/>
                  <a:pt x="9748" y="348179"/>
                  <a:pt x="28308" y="257599"/>
                </a:cubicBezTo>
                <a:cubicBezTo>
                  <a:pt x="54996" y="171733"/>
                  <a:pt x="65015" y="85866"/>
                  <a:pt x="108372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6" name="Freeform 34">
            <a:extLst>
              <a:ext uri="{FF2B5EF4-FFF2-40B4-BE49-F238E27FC236}">
                <a16:creationId xmlns:a16="http://schemas.microsoft.com/office/drawing/2014/main" id="{C0393A72-4D3D-076E-530C-4F93CEFF9AEC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852344" y="1770591"/>
            <a:ext cx="2784740" cy="2782156"/>
          </a:xfrm>
          <a:custGeom>
            <a:avLst/>
            <a:gdLst>
              <a:gd name="T0" fmla="*/ 3424791 w 4986"/>
              <a:gd name="T1" fmla="*/ 1711568 h 4985"/>
              <a:gd name="T2" fmla="*/ 3424791 w 4986"/>
              <a:gd name="T3" fmla="*/ 1711568 h 4985"/>
              <a:gd name="T4" fmla="*/ 1712739 w 4986"/>
              <a:gd name="T5" fmla="*/ 3421762 h 4985"/>
              <a:gd name="T6" fmla="*/ 1712739 w 4986"/>
              <a:gd name="T7" fmla="*/ 3421762 h 4985"/>
              <a:gd name="T8" fmla="*/ 0 w 4986"/>
              <a:gd name="T9" fmla="*/ 1711568 h 4985"/>
              <a:gd name="T10" fmla="*/ 0 w 4986"/>
              <a:gd name="T11" fmla="*/ 1711568 h 4985"/>
              <a:gd name="T12" fmla="*/ 1712739 w 4986"/>
              <a:gd name="T13" fmla="*/ 0 h 4985"/>
              <a:gd name="T14" fmla="*/ 1712739 w 4986"/>
              <a:gd name="T15" fmla="*/ 0 h 4985"/>
              <a:gd name="T16" fmla="*/ 3424791 w 4986"/>
              <a:gd name="T17" fmla="*/ 1711568 h 498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4986" h="4985">
                <a:moveTo>
                  <a:pt x="4985" y="2493"/>
                </a:moveTo>
                <a:lnTo>
                  <a:pt x="4985" y="2493"/>
                </a:lnTo>
                <a:cubicBezTo>
                  <a:pt x="4985" y="3868"/>
                  <a:pt x="3869" y="4984"/>
                  <a:pt x="2493" y="4984"/>
                </a:cubicBezTo>
                <a:cubicBezTo>
                  <a:pt x="1117" y="4984"/>
                  <a:pt x="0" y="3868"/>
                  <a:pt x="0" y="2493"/>
                </a:cubicBezTo>
                <a:cubicBezTo>
                  <a:pt x="0" y="1116"/>
                  <a:pt x="1117" y="0"/>
                  <a:pt x="2493" y="0"/>
                </a:cubicBezTo>
                <a:cubicBezTo>
                  <a:pt x="3869" y="0"/>
                  <a:pt x="4985" y="1116"/>
                  <a:pt x="4985" y="2493"/>
                </a:cubicBezTo>
              </a:path>
            </a:pathLst>
          </a:custGeom>
          <a:noFill/>
          <a:ln w="6350">
            <a:solidFill>
              <a:schemeClr val="accent5"/>
            </a:solidFill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7" name="Freeform 34">
            <a:extLst>
              <a:ext uri="{FF2B5EF4-FFF2-40B4-BE49-F238E27FC236}">
                <a16:creationId xmlns:a16="http://schemas.microsoft.com/office/drawing/2014/main" id="{0D999CCF-E987-C246-E1A1-A5869CA82549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3419868" y="1770591"/>
            <a:ext cx="2784740" cy="2782156"/>
          </a:xfrm>
          <a:custGeom>
            <a:avLst/>
            <a:gdLst>
              <a:gd name="T0" fmla="*/ 3424791 w 4986"/>
              <a:gd name="T1" fmla="*/ 1711568 h 4985"/>
              <a:gd name="T2" fmla="*/ 3424791 w 4986"/>
              <a:gd name="T3" fmla="*/ 1711568 h 4985"/>
              <a:gd name="T4" fmla="*/ 1712739 w 4986"/>
              <a:gd name="T5" fmla="*/ 3421762 h 4985"/>
              <a:gd name="T6" fmla="*/ 1712739 w 4986"/>
              <a:gd name="T7" fmla="*/ 3421762 h 4985"/>
              <a:gd name="T8" fmla="*/ 0 w 4986"/>
              <a:gd name="T9" fmla="*/ 1711568 h 4985"/>
              <a:gd name="T10" fmla="*/ 0 w 4986"/>
              <a:gd name="T11" fmla="*/ 1711568 h 4985"/>
              <a:gd name="T12" fmla="*/ 1712739 w 4986"/>
              <a:gd name="T13" fmla="*/ 0 h 4985"/>
              <a:gd name="T14" fmla="*/ 1712739 w 4986"/>
              <a:gd name="T15" fmla="*/ 0 h 4985"/>
              <a:gd name="T16" fmla="*/ 3424791 w 4986"/>
              <a:gd name="T17" fmla="*/ 1711568 h 498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4986" h="4985">
                <a:moveTo>
                  <a:pt x="4985" y="2493"/>
                </a:moveTo>
                <a:lnTo>
                  <a:pt x="4985" y="2493"/>
                </a:lnTo>
                <a:cubicBezTo>
                  <a:pt x="4985" y="3868"/>
                  <a:pt x="3869" y="4984"/>
                  <a:pt x="2493" y="4984"/>
                </a:cubicBezTo>
                <a:cubicBezTo>
                  <a:pt x="1117" y="4984"/>
                  <a:pt x="0" y="3868"/>
                  <a:pt x="0" y="2493"/>
                </a:cubicBezTo>
                <a:cubicBezTo>
                  <a:pt x="0" y="1116"/>
                  <a:pt x="1117" y="0"/>
                  <a:pt x="2493" y="0"/>
                </a:cubicBezTo>
                <a:cubicBezTo>
                  <a:pt x="3869" y="0"/>
                  <a:pt x="4985" y="1116"/>
                  <a:pt x="4985" y="2493"/>
                </a:cubicBezTo>
              </a:path>
            </a:pathLst>
          </a:custGeom>
          <a:noFill/>
          <a:ln w="6350">
            <a:solidFill>
              <a:schemeClr val="accent5"/>
            </a:solidFill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9" name="Freeform 34">
            <a:extLst>
              <a:ext uri="{FF2B5EF4-FFF2-40B4-BE49-F238E27FC236}">
                <a16:creationId xmlns:a16="http://schemas.microsoft.com/office/drawing/2014/main" id="{5F072D5E-0C13-3D3D-551B-0398423A327E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5987392" y="1770591"/>
            <a:ext cx="2784740" cy="2782156"/>
          </a:xfrm>
          <a:custGeom>
            <a:avLst/>
            <a:gdLst>
              <a:gd name="T0" fmla="*/ 3424791 w 4986"/>
              <a:gd name="T1" fmla="*/ 1711568 h 4985"/>
              <a:gd name="T2" fmla="*/ 3424791 w 4986"/>
              <a:gd name="T3" fmla="*/ 1711568 h 4985"/>
              <a:gd name="T4" fmla="*/ 1712739 w 4986"/>
              <a:gd name="T5" fmla="*/ 3421762 h 4985"/>
              <a:gd name="T6" fmla="*/ 1712739 w 4986"/>
              <a:gd name="T7" fmla="*/ 3421762 h 4985"/>
              <a:gd name="T8" fmla="*/ 0 w 4986"/>
              <a:gd name="T9" fmla="*/ 1711568 h 4985"/>
              <a:gd name="T10" fmla="*/ 0 w 4986"/>
              <a:gd name="T11" fmla="*/ 1711568 h 4985"/>
              <a:gd name="T12" fmla="*/ 1712739 w 4986"/>
              <a:gd name="T13" fmla="*/ 0 h 4985"/>
              <a:gd name="T14" fmla="*/ 1712739 w 4986"/>
              <a:gd name="T15" fmla="*/ 0 h 4985"/>
              <a:gd name="T16" fmla="*/ 3424791 w 4986"/>
              <a:gd name="T17" fmla="*/ 1711568 h 498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4986" h="4985">
                <a:moveTo>
                  <a:pt x="4985" y="2493"/>
                </a:moveTo>
                <a:lnTo>
                  <a:pt x="4985" y="2493"/>
                </a:lnTo>
                <a:cubicBezTo>
                  <a:pt x="4985" y="3868"/>
                  <a:pt x="3869" y="4984"/>
                  <a:pt x="2493" y="4984"/>
                </a:cubicBezTo>
                <a:cubicBezTo>
                  <a:pt x="1117" y="4984"/>
                  <a:pt x="0" y="3868"/>
                  <a:pt x="0" y="2493"/>
                </a:cubicBezTo>
                <a:cubicBezTo>
                  <a:pt x="0" y="1116"/>
                  <a:pt x="1117" y="0"/>
                  <a:pt x="2493" y="0"/>
                </a:cubicBezTo>
                <a:cubicBezTo>
                  <a:pt x="3869" y="0"/>
                  <a:pt x="4985" y="1116"/>
                  <a:pt x="4985" y="2493"/>
                </a:cubicBezTo>
              </a:path>
            </a:pathLst>
          </a:custGeom>
          <a:noFill/>
          <a:ln w="6350">
            <a:solidFill>
              <a:schemeClr val="accent5"/>
            </a:solidFill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1" name="Freeform 34">
            <a:extLst>
              <a:ext uri="{FF2B5EF4-FFF2-40B4-BE49-F238E27FC236}">
                <a16:creationId xmlns:a16="http://schemas.microsoft.com/office/drawing/2014/main" id="{F748ACB2-59B5-BE0E-41E2-A35AD05B1D3D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8554916" y="1770591"/>
            <a:ext cx="2784740" cy="2782156"/>
          </a:xfrm>
          <a:custGeom>
            <a:avLst/>
            <a:gdLst>
              <a:gd name="T0" fmla="*/ 3424791 w 4986"/>
              <a:gd name="T1" fmla="*/ 1711568 h 4985"/>
              <a:gd name="T2" fmla="*/ 3424791 w 4986"/>
              <a:gd name="T3" fmla="*/ 1711568 h 4985"/>
              <a:gd name="T4" fmla="*/ 1712739 w 4986"/>
              <a:gd name="T5" fmla="*/ 3421762 h 4985"/>
              <a:gd name="T6" fmla="*/ 1712739 w 4986"/>
              <a:gd name="T7" fmla="*/ 3421762 h 4985"/>
              <a:gd name="T8" fmla="*/ 0 w 4986"/>
              <a:gd name="T9" fmla="*/ 1711568 h 4985"/>
              <a:gd name="T10" fmla="*/ 0 w 4986"/>
              <a:gd name="T11" fmla="*/ 1711568 h 4985"/>
              <a:gd name="T12" fmla="*/ 1712739 w 4986"/>
              <a:gd name="T13" fmla="*/ 0 h 4985"/>
              <a:gd name="T14" fmla="*/ 1712739 w 4986"/>
              <a:gd name="T15" fmla="*/ 0 h 4985"/>
              <a:gd name="T16" fmla="*/ 3424791 w 4986"/>
              <a:gd name="T17" fmla="*/ 1711568 h 498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4986" h="4985">
                <a:moveTo>
                  <a:pt x="4985" y="2493"/>
                </a:moveTo>
                <a:lnTo>
                  <a:pt x="4985" y="2493"/>
                </a:lnTo>
                <a:cubicBezTo>
                  <a:pt x="4985" y="3868"/>
                  <a:pt x="3869" y="4984"/>
                  <a:pt x="2493" y="4984"/>
                </a:cubicBezTo>
                <a:cubicBezTo>
                  <a:pt x="1117" y="4984"/>
                  <a:pt x="0" y="3868"/>
                  <a:pt x="0" y="2493"/>
                </a:cubicBezTo>
                <a:cubicBezTo>
                  <a:pt x="0" y="1116"/>
                  <a:pt x="1117" y="0"/>
                  <a:pt x="2493" y="0"/>
                </a:cubicBezTo>
                <a:cubicBezTo>
                  <a:pt x="3869" y="0"/>
                  <a:pt x="4985" y="1116"/>
                  <a:pt x="4985" y="2493"/>
                </a:cubicBezTo>
              </a:path>
            </a:pathLst>
          </a:custGeom>
          <a:noFill/>
          <a:ln w="6350">
            <a:solidFill>
              <a:schemeClr val="accent5"/>
            </a:solidFill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6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2" name="TextBox 19">
            <a:extLst>
              <a:ext uri="{FF2B5EF4-FFF2-40B4-BE49-F238E27FC236}">
                <a16:creationId xmlns:a16="http://schemas.microsoft.com/office/drawing/2014/main" id="{501220DD-709C-7350-47D1-BCAE01F37C6B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1307994" y="3432356"/>
            <a:ext cx="1873441" cy="19870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57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-13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Source Sans Pro" panose="020B0503030403020204" pitchFamily="34" charset="0"/>
                <a:cs typeface="+mn-cs"/>
              </a:rPr>
              <a:t>{bullet_1_content}</a:t>
            </a:r>
          </a:p>
        </p:txBody>
      </p:sp>
      <p:sp>
        <p:nvSpPr>
          <p:cNvPr id="13" name="TextBox 20">
            <a:extLst>
              <a:ext uri="{FF2B5EF4-FFF2-40B4-BE49-F238E27FC236}">
                <a16:creationId xmlns:a16="http://schemas.microsoft.com/office/drawing/2014/main" id="{42123AE0-00C0-C021-B33D-A72983E5C423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1307994" y="2745865"/>
            <a:ext cx="1873441" cy="50013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}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1_description}</a:t>
            </a:r>
          </a:p>
        </p:txBody>
      </p:sp>
      <p:cxnSp>
        <p:nvCxnSpPr>
          <p:cNvPr id="14" name="Gerader Verbinder 60">
            <a:extLst>
              <a:ext uri="{FF2B5EF4-FFF2-40B4-BE49-F238E27FC236}">
                <a16:creationId xmlns:a16="http://schemas.microsoft.com/office/drawing/2014/main" id="{91C91754-8A8E-D28C-7FDC-DA6CC28E7088}"/>
              </a:ext>
            </a:extLst>
          </p:cNvPr>
          <p:cNvCxnSpPr>
            <a:cxnSpLocks/>
          </p:cNvCxnSpPr>
          <p:nvPr/>
        </p:nvCxnSpPr>
        <p:spPr>
          <a:xfrm>
            <a:off x="2244714" y="4697138"/>
            <a:ext cx="0" cy="269980"/>
          </a:xfrm>
          <a:prstGeom prst="line">
            <a:avLst/>
          </a:prstGeom>
          <a:ln w="3810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9">
            <a:extLst>
              <a:ext uri="{FF2B5EF4-FFF2-40B4-BE49-F238E27FC236}">
                <a16:creationId xmlns:a16="http://schemas.microsoft.com/office/drawing/2014/main" id="{2BE952EC-53A0-63D6-33D7-1E7E8BCF16AF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3875518" y="3432356"/>
            <a:ext cx="1873441" cy="19870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57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-13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Source Sans Pro" panose="020B0503030403020204" pitchFamily="34" charset="0"/>
                <a:cs typeface="+mn-cs"/>
              </a:rPr>
              <a:t>{content}</a:t>
            </a:r>
          </a:p>
        </p:txBody>
      </p:sp>
      <p:sp>
        <p:nvSpPr>
          <p:cNvPr id="16" name="TextBox 20">
            <a:extLst>
              <a:ext uri="{FF2B5EF4-FFF2-40B4-BE49-F238E27FC236}">
                <a16:creationId xmlns:a16="http://schemas.microsoft.com/office/drawing/2014/main" id="{DBA0BB0E-DB96-6BAB-61C4-31E47EA50CD9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3875518" y="2745865"/>
            <a:ext cx="1873441" cy="50013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2}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2_description}</a:t>
            </a:r>
          </a:p>
        </p:txBody>
      </p:sp>
      <p:cxnSp>
        <p:nvCxnSpPr>
          <p:cNvPr id="17" name="Gerader Verbinder 67">
            <a:extLst>
              <a:ext uri="{FF2B5EF4-FFF2-40B4-BE49-F238E27FC236}">
                <a16:creationId xmlns:a16="http://schemas.microsoft.com/office/drawing/2014/main" id="{6511D863-056D-BEF3-B0DC-0164997273F5}"/>
              </a:ext>
            </a:extLst>
          </p:cNvPr>
          <p:cNvCxnSpPr>
            <a:cxnSpLocks/>
          </p:cNvCxnSpPr>
          <p:nvPr/>
        </p:nvCxnSpPr>
        <p:spPr>
          <a:xfrm>
            <a:off x="4812238" y="4697138"/>
            <a:ext cx="0" cy="269980"/>
          </a:xfrm>
          <a:prstGeom prst="line">
            <a:avLst/>
          </a:prstGeom>
          <a:ln w="3810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9">
            <a:extLst>
              <a:ext uri="{FF2B5EF4-FFF2-40B4-BE49-F238E27FC236}">
                <a16:creationId xmlns:a16="http://schemas.microsoft.com/office/drawing/2014/main" id="{15B4DF55-3F7C-D657-A5A8-F0BB4EF33CCC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6443042" y="3432356"/>
            <a:ext cx="1873441" cy="19870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57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-13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Source Sans Pro" panose="020B0503030403020204" pitchFamily="34" charset="0"/>
                <a:cs typeface="+mn-cs"/>
              </a:rPr>
              <a:t>{bullt_3_content}</a:t>
            </a:r>
          </a:p>
        </p:txBody>
      </p:sp>
      <p:sp>
        <p:nvSpPr>
          <p:cNvPr id="19" name="TextBox 20">
            <a:extLst>
              <a:ext uri="{FF2B5EF4-FFF2-40B4-BE49-F238E27FC236}">
                <a16:creationId xmlns:a16="http://schemas.microsoft.com/office/drawing/2014/main" id="{A0C376A6-22FC-A284-C7D0-B6D2242CD4AB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>
          <a:xfrm>
            <a:off x="6443042" y="2745865"/>
            <a:ext cx="1873441" cy="50013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3}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2_description}</a:t>
            </a:r>
          </a:p>
        </p:txBody>
      </p:sp>
      <p:cxnSp>
        <p:nvCxnSpPr>
          <p:cNvPr id="20" name="Gerader Verbinder 73">
            <a:extLst>
              <a:ext uri="{FF2B5EF4-FFF2-40B4-BE49-F238E27FC236}">
                <a16:creationId xmlns:a16="http://schemas.microsoft.com/office/drawing/2014/main" id="{3FF9EFB6-66C4-E0D7-FB7D-3CAAA69BCCD2}"/>
              </a:ext>
            </a:extLst>
          </p:cNvPr>
          <p:cNvCxnSpPr>
            <a:cxnSpLocks/>
          </p:cNvCxnSpPr>
          <p:nvPr/>
        </p:nvCxnSpPr>
        <p:spPr>
          <a:xfrm>
            <a:off x="7379762" y="4697138"/>
            <a:ext cx="0" cy="269980"/>
          </a:xfrm>
          <a:prstGeom prst="line">
            <a:avLst/>
          </a:prstGeom>
          <a:ln w="3810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19">
            <a:extLst>
              <a:ext uri="{FF2B5EF4-FFF2-40B4-BE49-F238E27FC236}">
                <a16:creationId xmlns:a16="http://schemas.microsoft.com/office/drawing/2014/main" id="{5AC12A12-1322-8FDE-BD48-3C38F89D4483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>
          <a:xfrm>
            <a:off x="9010566" y="3432356"/>
            <a:ext cx="1873441" cy="19870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57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-13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Source Sans Pro" panose="020B0503030403020204" pitchFamily="34" charset="0"/>
                <a:cs typeface="+mn-cs"/>
              </a:rPr>
              <a:t>{bullet_4_content}</a:t>
            </a:r>
          </a:p>
        </p:txBody>
      </p:sp>
      <p:sp>
        <p:nvSpPr>
          <p:cNvPr id="22" name="TextBox 20">
            <a:extLst>
              <a:ext uri="{FF2B5EF4-FFF2-40B4-BE49-F238E27FC236}">
                <a16:creationId xmlns:a16="http://schemas.microsoft.com/office/drawing/2014/main" id="{5BF83EB3-33EC-D928-C054-9508898A1B36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>
          <a:xfrm>
            <a:off x="9010566" y="2745865"/>
            <a:ext cx="1873441" cy="50013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4}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bullet_4_description}</a:t>
            </a:r>
          </a:p>
        </p:txBody>
      </p:sp>
      <p:cxnSp>
        <p:nvCxnSpPr>
          <p:cNvPr id="23" name="Gerader Verbinder 79">
            <a:extLst>
              <a:ext uri="{FF2B5EF4-FFF2-40B4-BE49-F238E27FC236}">
                <a16:creationId xmlns:a16="http://schemas.microsoft.com/office/drawing/2014/main" id="{45D8E32D-13AC-AE09-BA3C-C958316CC1BE}"/>
              </a:ext>
            </a:extLst>
          </p:cNvPr>
          <p:cNvCxnSpPr>
            <a:cxnSpLocks/>
          </p:cNvCxnSpPr>
          <p:nvPr/>
        </p:nvCxnSpPr>
        <p:spPr>
          <a:xfrm>
            <a:off x="9947286" y="4697138"/>
            <a:ext cx="0" cy="269980"/>
          </a:xfrm>
          <a:prstGeom prst="line">
            <a:avLst/>
          </a:prstGeom>
          <a:ln w="3810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Grafik 29">
            <a:extLst>
              <a:ext uri="{FF2B5EF4-FFF2-40B4-BE49-F238E27FC236}">
                <a16:creationId xmlns:a16="http://schemas.microsoft.com/office/drawing/2014/main" id="{E2464F77-E1F2-E7D3-DD43-7054F4289D8E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4355038" y="4974511"/>
            <a:ext cx="914400" cy="914400"/>
          </a:xfrm>
          <a:prstGeom prst="rect">
            <a:avLst/>
          </a:prstGeom>
        </p:spPr>
      </p:pic>
      <p:pic>
        <p:nvPicPr>
          <p:cNvPr id="25" name="Grafik 30">
            <a:extLst>
              <a:ext uri="{FF2B5EF4-FFF2-40B4-BE49-F238E27FC236}">
                <a16:creationId xmlns:a16="http://schemas.microsoft.com/office/drawing/2014/main" id="{5843C296-EEAA-D2B6-6F25-C31C6030C8E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787514" y="4974511"/>
            <a:ext cx="914400" cy="914400"/>
          </a:xfrm>
          <a:prstGeom prst="rect">
            <a:avLst/>
          </a:prstGeom>
        </p:spPr>
      </p:pic>
      <p:pic>
        <p:nvPicPr>
          <p:cNvPr id="26" name="Grafik 31">
            <a:extLst>
              <a:ext uri="{FF2B5EF4-FFF2-40B4-BE49-F238E27FC236}">
                <a16:creationId xmlns:a16="http://schemas.microsoft.com/office/drawing/2014/main" id="{F3AB8326-11BA-CEF0-C137-263D26F08278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6978790" y="5030739"/>
            <a:ext cx="801944" cy="801944"/>
          </a:xfrm>
          <a:prstGeom prst="rect">
            <a:avLst/>
          </a:prstGeom>
        </p:spPr>
      </p:pic>
      <p:pic>
        <p:nvPicPr>
          <p:cNvPr id="27" name="Grafik 32">
            <a:extLst>
              <a:ext uri="{FF2B5EF4-FFF2-40B4-BE49-F238E27FC236}">
                <a16:creationId xmlns:a16="http://schemas.microsoft.com/office/drawing/2014/main" id="{14D68B87-1B6C-7F62-E7D9-CF871F9C6735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9490086" y="4974511"/>
            <a:ext cx="914400" cy="914400"/>
          </a:xfrm>
          <a:prstGeom prst="rect">
            <a:avLst/>
          </a:prstGeom>
        </p:spPr>
      </p:pic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2969C0E1-D35E-2C3E-7FC7-32ED50295ABC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304891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venn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diagram, diagrams, icon, icons, value</a:t>
            </a:r>
          </a:p>
        </p:txBody>
      </p:sp>
    </p:spTree>
    <p:extLst>
      <p:ext uri="{BB962C8B-B14F-4D97-AF65-F5344CB8AC3E}">
        <p14:creationId xmlns:p14="http://schemas.microsoft.com/office/powerpoint/2010/main" val="34445535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92lBtEg3kVOuxQ3AGm0Y8U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N2lBtEg3kVOuxQ3AGm0Y8UDRGF0YQAWAAAAAlBlcnNvbmFsSWQAAQAAAAAAAk5hbWUACwAAAFBlcnNvbmFsSWQAEFZlcnNpb24AAAAAAAlMYXN0V3JpdGUAKXAm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961679606"/>
  <p:tag name="EMPOWERCHARTSPROPERTIES_A_LENGTH" val="24576"/>
  <p:tag name="RUNTIME_ID" val="69c4d37e-5af7-432d-92eb-1c9f5e6505f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/LSqbv89exHlxHG1XbQ+4Y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PLSqbv89exHlxHG1XbQ+4YDRGF0YQAWAAAAAlBlcnNvbmFsSWQAAQAAAAAAAk5hbWUACwAAAFBlcnNvbmFsSWQAEFZlcnNpb24AAAAAAAlMYXN0V3JpdGUAV3Am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961987746"/>
  <p:tag name="EMPOWERCHARTSPROPERTIES_A_LENGTH" val="24576"/>
  <p:tag name="RUNTIME_ID" val="cf6d3090-ff9c-4eb5-a9bc-8d9d3330c52f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EAAAAAAAAAAwAAAAMAAAAA/////wMAdA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yhtHtCqpiZBtVty2JBqUFEFAAAAAAADAAAAAAADAAAAAQA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wMAAAAAAAAAAAAACAB////////////////AAAA////////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MAAZQZXJzb25hbElkXzAFAAAAAAAEAAAAAAAEAAAAAQA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ChtHtCqpiZBtVty2JBqUFEDRGF0YQAWAAAAAlBlcnNvbmFsSWQAAQAAAAAAAk5hbWUACwAAAFBlcnNvbmFsSWQAEFZlcnNpb24AAAAAAAlMYXN0V3JpdGUAd3Am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962462432"/>
  <p:tag name="EMPOWERCHARTSPROPERTIES_A_LENGTH" val="24576"/>
  <p:tag name="RUNTIME_ID" val="dad29b75-68fe-455e-a3f6-ebe313af206d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6TJp4XNoR5Bs926J0xfoT4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IQMAAAAAAAAAAAAACAB////////////////AAAA////////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KTJp4XNoR5Bs926J0xfoT4DRGF0YQAWAAAAAlBlcnNvbmFsSWQAAQAAAAAAAk5hbWUACwAAAFBlcnNvbmFsSWQAEFZlcnNpb24AAAAAAAlMYXN0V3JpdGUApXAm9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62385962775259"/>
  <p:tag name="EMPOWERCHARTSPROPERTIES_A_LENGTH" val="24576"/>
  <p:tag name="RUNTIME_ID" val="7877ae6a-47b8-4763-b062-79509db583a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87</Words>
  <Application>Microsoft Office PowerPoint</Application>
  <PresentationFormat>宽屏</PresentationFormat>
  <Paragraphs>14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1" baseType="lpstr">
      <vt:lpstr>Futura</vt:lpstr>
      <vt:lpstr>LiciumFont 2022 Bold</vt:lpstr>
      <vt:lpstr>等线</vt:lpstr>
      <vt:lpstr>理想品牌字体 2022</vt:lpstr>
      <vt:lpstr>Arial</vt:lpstr>
      <vt:lpstr>Calibri</vt:lpstr>
      <vt:lpstr>Source Sans Pro</vt:lpstr>
      <vt:lpstr>Trebuchet MS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04T02:45:45Z</dcterms:created>
  <dcterms:modified xsi:type="dcterms:W3CDTF">2025-09-04T02:48:28Z</dcterms:modified>
</cp:coreProperties>
</file>